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832" r:id="rId5"/>
  </p:sldIdLst>
  <p:sldSz cx="10287000" cy="10287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sign" id="{AB6416A1-1A39-6943-90E8-D99E149BDCD6}">
          <p14:sldIdLst>
            <p14:sldId id="832"/>
          </p14:sldIdLst>
        </p14:section>
      </p14:sectionLst>
    </p:ext>
    <p:ext uri="{EFAFB233-063F-42B5-8137-9DF3F51BA10A}">
      <p15:sldGuideLst xmlns:p15="http://schemas.microsoft.com/office/powerpoint/2012/main">
        <p15:guide id="2" pos="3240" userDrawn="1">
          <p15:clr>
            <a:srgbClr val="A4A3A4"/>
          </p15:clr>
        </p15:guide>
        <p15:guide id="3" orient="horz" pos="3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3898" autoAdjust="0"/>
  </p:normalViewPr>
  <p:slideViewPr>
    <p:cSldViewPr snapToGrid="0" snapToObjects="1">
      <p:cViewPr varScale="1">
        <p:scale>
          <a:sx n="62" d="100"/>
          <a:sy n="62" d="100"/>
        </p:scale>
        <p:origin x="2838" y="90"/>
      </p:cViewPr>
      <p:guideLst>
        <p:guide pos="3240"/>
        <p:guide orient="horz" pos="3240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303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5/27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5/2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dirty="0"/>
              <a:t>HOW TO USE THIS TEMPLATE:</a:t>
            </a:r>
            <a:br>
              <a:rPr lang="en-US" sz="800" dirty="0"/>
            </a:b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Edit your slide</a:t>
            </a:r>
            <a:br>
              <a:rPr lang="en-US" sz="800" dirty="0"/>
            </a:br>
            <a:r>
              <a:rPr lang="en-US" sz="800" dirty="0"/>
              <a:t>- Replace the placeholder text and images with your own content</a:t>
            </a:r>
            <a:br>
              <a:rPr lang="en-US" sz="800" dirty="0"/>
            </a:br>
            <a:r>
              <a:rPr lang="en-US" sz="800" dirty="0"/>
              <a:t>- Make sure everything looks good and fits within the layout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Go to File → Save As</a:t>
            </a:r>
            <a:br>
              <a:rPr lang="en-US" sz="800" dirty="0"/>
            </a:br>
            <a:r>
              <a:rPr lang="en-US" sz="800" dirty="0"/>
              <a:t>- Choose where you want to save your file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Change the file type</a:t>
            </a:r>
            <a:br>
              <a:rPr lang="en-US" sz="800" dirty="0"/>
            </a:br>
            <a:r>
              <a:rPr lang="en-US" sz="800" dirty="0"/>
              <a:t>- In the “Save as type” dropdown, select :JPEG File Interchange Format (*.jpg)</a:t>
            </a:r>
          </a:p>
          <a:p>
            <a:pPr marL="228600" indent="-228600">
              <a:buFont typeface="+mj-lt"/>
              <a:buAutoNum type="arabicPeriod"/>
            </a:pP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Click SavePowerPoint will ask: “All Slides” or “Just This One?”Choose Just This One</a:t>
            </a:r>
            <a:br>
              <a:rPr lang="en-US" sz="800" dirty="0"/>
            </a:br>
            <a:endParaRPr lang="en-US" sz="800" dirty="0"/>
          </a:p>
          <a:p>
            <a:pPr marL="228600" indent="-228600">
              <a:buFont typeface="+mj-lt"/>
              <a:buAutoNum type="arabicPeriod"/>
            </a:pPr>
            <a:r>
              <a:rPr lang="en-US" sz="800" dirty="0"/>
              <a:t>Done!</a:t>
            </a:r>
            <a:br>
              <a:rPr lang="en-US" sz="800" dirty="0"/>
            </a:br>
            <a:r>
              <a:rPr lang="en-US" sz="800" dirty="0"/>
              <a:t>Your JPG will be saved in the selected folder, ready to sh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jpg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svg"/><Relationship Id="rId10" Type="http://schemas.openxmlformats.org/officeDocument/2006/relationships/image" Target="../media/image9.svg"/><Relationship Id="rId4" Type="http://schemas.openxmlformats.org/officeDocument/2006/relationships/image" Target="../media/image5.jpg"/><Relationship Id="rId9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olarship Recipient Imag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DD7B3-5227-F68A-7751-2EDAF842AE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0287000" cy="10287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8A562A-97E3-4310-2562-7F81DC127D6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293" r="-756" b="3035"/>
          <a:stretch>
            <a:fillRect/>
          </a:stretch>
        </p:blipFill>
        <p:spPr>
          <a:xfrm>
            <a:off x="-14828" y="-2"/>
            <a:ext cx="2548768" cy="10287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3576B29E-67C5-9917-04B4-43779BE80C9B}"/>
              </a:ext>
            </a:extLst>
          </p:cNvPr>
          <p:cNvSpPr/>
          <p:nvPr userDrawn="1"/>
        </p:nvSpPr>
        <p:spPr>
          <a:xfrm rot="10800000">
            <a:off x="-14829" y="8774743"/>
            <a:ext cx="2542287" cy="1515035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F006D973-BE6E-87DD-37D9-4C44828DC2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53134" y="-96106"/>
            <a:ext cx="4951202" cy="4957465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B2FFD-1D37-A885-F5B4-076487A16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2441" y="7957181"/>
            <a:ext cx="4720280" cy="817563"/>
          </a:xfrm>
        </p:spPr>
        <p:txBody>
          <a:bodyPr wrap="square" lIns="0" tIns="0" rIns="0" bIns="0"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800" b="1" i="0"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 b="1">
                <a:latin typeface="+mn-lt"/>
              </a:defRPr>
            </a:lvl2pPr>
            <a:lvl3pPr>
              <a:buNone/>
              <a:defRPr b="1">
                <a:latin typeface="+mn-lt"/>
              </a:defRPr>
            </a:lvl3pPr>
            <a:lvl4pPr>
              <a:buNone/>
              <a:defRPr b="1">
                <a:latin typeface="+mn-lt"/>
              </a:defRPr>
            </a:lvl4pPr>
            <a:lvl5pPr>
              <a:buNone/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FIRSTNAME (ALL-CAPS)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8B5DB48-58C7-C406-3566-A094233691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12062" y="3131537"/>
            <a:ext cx="4681039" cy="4023927"/>
          </a:xfrm>
        </p:spPr>
        <p:txBody>
          <a:bodyPr tIns="0" rIns="0" bIns="0" anchor="ctr"/>
          <a:lstStyle>
            <a:lvl1pPr marL="0" indent="0" algn="ctr">
              <a:lnSpc>
                <a:spcPts val="2800"/>
              </a:lnSpc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>
              <a:buNone/>
              <a:defRPr>
                <a:solidFill>
                  <a:schemeClr val="bg1"/>
                </a:solidFill>
                <a:latin typeface="+mn-lt"/>
              </a:defRPr>
            </a:lvl3pPr>
            <a:lvl4pPr>
              <a:buNone/>
              <a:defRPr>
                <a:solidFill>
                  <a:schemeClr val="bg1"/>
                </a:solidFill>
                <a:latin typeface="+mn-lt"/>
              </a:defRPr>
            </a:lvl4pPr>
            <a:lvl5pPr>
              <a:buNone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This is a text placeholder. Please share your thoughts here. Aim for around roughly 250 - 300 characters. Lorem ipsum dolor sit amet, consectetur adipiscing elit, sed do eiusmod tempor incididunt ut labore et dolore magna aliqua.</a:t>
            </a:r>
            <a:br>
              <a:rPr lang="en-US" dirty="0"/>
            </a:br>
            <a:r>
              <a:rPr lang="en-US" dirty="0"/>
              <a:t>Excepteur sint occaecat cupidatat non provident.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76817B73-717C-1EF6-DEE0-420066F42A9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1488" y="9599275"/>
            <a:ext cx="1984484" cy="396900"/>
          </a:xfrm>
          <a:prstGeom prst="rect">
            <a:avLst/>
          </a:prstGeom>
          <a:effectLst/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5449623A-5F3C-6677-0762-C733A58010B9}"/>
              </a:ext>
            </a:extLst>
          </p:cNvPr>
          <p:cNvGrpSpPr/>
          <p:nvPr userDrawn="1"/>
        </p:nvGrpSpPr>
        <p:grpSpPr>
          <a:xfrm>
            <a:off x="4992441" y="7695771"/>
            <a:ext cx="4720280" cy="453822"/>
            <a:chOff x="3602071" y="7695770"/>
            <a:chExt cx="5888951" cy="56618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4A37628-5D75-CAE1-B2BE-E847EE3A26A5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Graphic 45">
              <a:extLst>
                <a:ext uri="{FF2B5EF4-FFF2-40B4-BE49-F238E27FC236}">
                  <a16:creationId xmlns:a16="http://schemas.microsoft.com/office/drawing/2014/main" id="{699ACD69-44DC-AE2D-64BB-DBE74CB6DE37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F0EA6F-FFAF-705C-7959-47D8B146D5B3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AF1522E-38EC-2455-2B1C-FE6CE8DA1840}"/>
              </a:ext>
            </a:extLst>
          </p:cNvPr>
          <p:cNvGrpSpPr/>
          <p:nvPr userDrawn="1"/>
        </p:nvGrpSpPr>
        <p:grpSpPr>
          <a:xfrm rot="10800000">
            <a:off x="4992441" y="2137406"/>
            <a:ext cx="4720280" cy="453822"/>
            <a:chOff x="3602071" y="7695770"/>
            <a:chExt cx="5888951" cy="56618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5A3D28D-9CD7-70EC-25A7-A4E22E3F4064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Graphic 45">
              <a:extLst>
                <a:ext uri="{FF2B5EF4-FFF2-40B4-BE49-F238E27FC236}">
                  <a16:creationId xmlns:a16="http://schemas.microsoft.com/office/drawing/2014/main" id="{908F5BDE-335A-FFBB-1C2D-D887F3723114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D3F92AE-B31F-3CD8-7CE3-B0F084DF49B6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84031BE-F39E-02D9-AE62-66AAA2CDA539}"/>
              </a:ext>
            </a:extLst>
          </p:cNvPr>
          <p:cNvGrpSpPr/>
          <p:nvPr userDrawn="1"/>
        </p:nvGrpSpPr>
        <p:grpSpPr>
          <a:xfrm>
            <a:off x="2051769" y="-2"/>
            <a:ext cx="1068946" cy="10287000"/>
            <a:chOff x="2051769" y="-2"/>
            <a:chExt cx="1068946" cy="10287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2E0DEF8-9D0C-BA68-27B9-2B2AC3BE1BB1}"/>
                </a:ext>
              </a:extLst>
            </p:cNvPr>
            <p:cNvSpPr>
              <a:spLocks/>
            </p:cNvSpPr>
            <p:nvPr userDrawn="1"/>
          </p:nvSpPr>
          <p:spPr>
            <a:xfrm rot="5400000">
              <a:off x="-2557258" y="5084715"/>
              <a:ext cx="10287000" cy="11756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0" dist="38100" algn="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714D33B-D2E2-7286-3AC5-6D8645992B88}"/>
                </a:ext>
              </a:extLst>
            </p:cNvPr>
            <p:cNvGrpSpPr/>
            <p:nvPr userDrawn="1"/>
          </p:nvGrpSpPr>
          <p:grpSpPr>
            <a:xfrm>
              <a:off x="2051769" y="1103520"/>
              <a:ext cx="1068946" cy="1068946"/>
              <a:chOff x="2051769" y="1103520"/>
              <a:chExt cx="1068946" cy="1068946"/>
            </a:xfrm>
          </p:grpSpPr>
          <p:sp>
            <p:nvSpPr>
              <p:cNvPr id="2" name="Oval 1">
                <a:extLst>
                  <a:ext uri="{FF2B5EF4-FFF2-40B4-BE49-F238E27FC236}">
                    <a16:creationId xmlns:a16="http://schemas.microsoft.com/office/drawing/2014/main" id="{73522DE7-AF15-39B2-735C-35E0E996E20B}"/>
                  </a:ext>
                </a:extLst>
              </p:cNvPr>
              <p:cNvSpPr/>
              <p:nvPr userDrawn="1"/>
            </p:nvSpPr>
            <p:spPr>
              <a:xfrm>
                <a:off x="2051769" y="1103520"/>
                <a:ext cx="1068946" cy="106894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4" name="Graphic 3">
                <a:extLst>
                  <a:ext uri="{FF2B5EF4-FFF2-40B4-BE49-F238E27FC236}">
                    <a16:creationId xmlns:a16="http://schemas.microsoft.com/office/drawing/2014/main" id="{643FA8DD-401F-0EE4-A1A7-B1A0F773EC8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300346" y="1263088"/>
                <a:ext cx="571792" cy="803599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86D795D-E7FD-68E5-9BBB-E5F7458CC463}"/>
                </a:ext>
              </a:extLst>
            </p:cNvPr>
            <p:cNvGrpSpPr/>
            <p:nvPr userDrawn="1"/>
          </p:nvGrpSpPr>
          <p:grpSpPr>
            <a:xfrm>
              <a:off x="2051769" y="8109457"/>
              <a:ext cx="1068946" cy="1068946"/>
              <a:chOff x="2051769" y="1103520"/>
              <a:chExt cx="1068946" cy="1068946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F43983D-3339-556D-AFA6-92E050BA9ECB}"/>
                  </a:ext>
                </a:extLst>
              </p:cNvPr>
              <p:cNvSpPr/>
              <p:nvPr userDrawn="1"/>
            </p:nvSpPr>
            <p:spPr>
              <a:xfrm>
                <a:off x="2051769" y="1103520"/>
                <a:ext cx="1068946" cy="106894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7" name="Graphic 46">
                <a:extLst>
                  <a:ext uri="{FF2B5EF4-FFF2-40B4-BE49-F238E27FC236}">
                    <a16:creationId xmlns:a16="http://schemas.microsoft.com/office/drawing/2014/main" id="{432A71EB-F9E1-A9E6-FE40-B88DFCE044A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300346" y="1263088"/>
                <a:ext cx="571792" cy="803599"/>
              </a:xfrm>
              <a:prstGeom prst="rect">
                <a:avLst/>
              </a:prstGeom>
            </p:spPr>
          </p:pic>
        </p:grp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4D1B080-8E92-B1D5-255E-0B496FEDA634}"/>
                </a:ext>
              </a:extLst>
            </p:cNvPr>
            <p:cNvSpPr/>
            <p:nvPr userDrawn="1"/>
          </p:nvSpPr>
          <p:spPr>
            <a:xfrm>
              <a:off x="2397542" y="2450673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C7C85DED-E1E8-B569-1A75-7FAB7DD681D1}"/>
                </a:ext>
              </a:extLst>
            </p:cNvPr>
            <p:cNvSpPr/>
            <p:nvPr userDrawn="1"/>
          </p:nvSpPr>
          <p:spPr>
            <a:xfrm>
              <a:off x="2397542" y="303960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CDFD6E75-9860-49E7-9BBA-CFEF4E090AE8}"/>
                </a:ext>
              </a:extLst>
            </p:cNvPr>
            <p:cNvSpPr/>
            <p:nvPr userDrawn="1"/>
          </p:nvSpPr>
          <p:spPr>
            <a:xfrm>
              <a:off x="2397542" y="9583847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93FF8C36-D1D6-0925-0D54-EDD1215023D1}"/>
                </a:ext>
              </a:extLst>
            </p:cNvPr>
            <p:cNvSpPr/>
            <p:nvPr userDrawn="1"/>
          </p:nvSpPr>
          <p:spPr>
            <a:xfrm>
              <a:off x="2397542" y="7437134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id="{33CF3649-7D86-B664-7D93-10F10649444B}"/>
              </a:ext>
            </a:extLst>
          </p:cNvPr>
          <p:cNvSpPr/>
          <p:nvPr userDrawn="1"/>
        </p:nvSpPr>
        <p:spPr>
          <a:xfrm>
            <a:off x="574279" y="3131535"/>
            <a:ext cx="4023926" cy="402392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921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680B2D7F-4CC3-E765-D33E-9ECBBC5B5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0093" y="3237349"/>
            <a:ext cx="3812299" cy="3812299"/>
          </a:xfrm>
          <a:custGeom>
            <a:avLst/>
            <a:gdLst>
              <a:gd name="csX0" fmla="*/ 3551238 w 7102475"/>
              <a:gd name="csY0" fmla="*/ 0 h 7102475"/>
              <a:gd name="csX1" fmla="*/ 7097855 w 7102475"/>
              <a:gd name="csY1" fmla="*/ 3368492 h 7102475"/>
              <a:gd name="csX2" fmla="*/ 7102475 w 7102475"/>
              <a:gd name="csY2" fmla="*/ 3551196 h 7102475"/>
              <a:gd name="csX3" fmla="*/ 7102475 w 7102475"/>
              <a:gd name="csY3" fmla="*/ 3551280 h 7102475"/>
              <a:gd name="csX4" fmla="*/ 7097855 w 7102475"/>
              <a:gd name="csY4" fmla="*/ 3733985 h 7102475"/>
              <a:gd name="csX5" fmla="*/ 3733985 w 7102475"/>
              <a:gd name="csY5" fmla="*/ 7097855 h 7102475"/>
              <a:gd name="csX6" fmla="*/ 3551280 w 7102475"/>
              <a:gd name="csY6" fmla="*/ 7102475 h 7102475"/>
              <a:gd name="csX7" fmla="*/ 3551196 w 7102475"/>
              <a:gd name="csY7" fmla="*/ 7102475 h 7102475"/>
              <a:gd name="csX8" fmla="*/ 3368492 w 7102475"/>
              <a:gd name="csY8" fmla="*/ 7097855 h 7102475"/>
              <a:gd name="csX9" fmla="*/ 0 w 7102475"/>
              <a:gd name="csY9" fmla="*/ 3551238 h 7102475"/>
              <a:gd name="csX10" fmla="*/ 3551238 w 7102475"/>
              <a:gd name="csY10" fmla="*/ 0 h 71024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7102475" h="7102475">
                <a:moveTo>
                  <a:pt x="3551238" y="0"/>
                </a:moveTo>
                <a:cubicBezTo>
                  <a:pt x="5451243" y="0"/>
                  <a:pt x="7002742" y="1492124"/>
                  <a:pt x="7097855" y="3368492"/>
                </a:cubicBezTo>
                <a:lnTo>
                  <a:pt x="7102475" y="3551196"/>
                </a:lnTo>
                <a:lnTo>
                  <a:pt x="7102475" y="3551280"/>
                </a:lnTo>
                <a:lnTo>
                  <a:pt x="7097855" y="3733985"/>
                </a:lnTo>
                <a:cubicBezTo>
                  <a:pt x="7005810" y="5549824"/>
                  <a:pt x="5549824" y="7005810"/>
                  <a:pt x="3733985" y="7097855"/>
                </a:cubicBezTo>
                <a:lnTo>
                  <a:pt x="3551280" y="7102475"/>
                </a:lnTo>
                <a:lnTo>
                  <a:pt x="3551196" y="7102475"/>
                </a:lnTo>
                <a:lnTo>
                  <a:pt x="3368492" y="7097855"/>
                </a:lnTo>
                <a:cubicBezTo>
                  <a:pt x="1492124" y="7002742"/>
                  <a:pt x="0" y="5451243"/>
                  <a:pt x="0" y="3551238"/>
                </a:cubicBezTo>
                <a:cubicBezTo>
                  <a:pt x="0" y="1589943"/>
                  <a:pt x="1589943" y="0"/>
                  <a:pt x="3551238" y="0"/>
                </a:cubicBezTo>
                <a:close/>
              </a:path>
            </a:pathLst>
          </a:custGeom>
          <a:pattFill prst="pct90">
            <a:fgClr>
              <a:srgbClr val="3FCFD5"/>
            </a:fgClr>
            <a:bgClr>
              <a:schemeClr val="accent3"/>
            </a:bgClr>
          </a:pattFill>
          <a:ln w="508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F10B0F-4E0A-822C-EDDA-2457817281EF}"/>
              </a:ext>
            </a:extLst>
          </p:cNvPr>
          <p:cNvGrpSpPr/>
          <p:nvPr userDrawn="1"/>
        </p:nvGrpSpPr>
        <p:grpSpPr>
          <a:xfrm>
            <a:off x="5267095" y="8790098"/>
            <a:ext cx="4074482" cy="707886"/>
            <a:chOff x="5107224" y="8790098"/>
            <a:chExt cx="4074482" cy="707886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E5BC827-CA3B-5E0B-D473-43D696B4375F}"/>
                </a:ext>
              </a:extLst>
            </p:cNvPr>
            <p:cNvSpPr txBox="1"/>
            <p:nvPr userDrawn="1"/>
          </p:nvSpPr>
          <p:spPr>
            <a:xfrm>
              <a:off x="5523460" y="8790098"/>
              <a:ext cx="3658246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000" b="1" i="1" dirty="0">
                  <a:solidFill>
                    <a:schemeClr val="accent2"/>
                  </a:solidFill>
                </a:rPr>
                <a:t>TC ENERGY INDIGENOUS LEGACY</a:t>
              </a:r>
              <a:br>
                <a:rPr lang="en-US" sz="2000" b="1" i="1" dirty="0">
                  <a:solidFill>
                    <a:schemeClr val="accent2"/>
                  </a:solidFill>
                </a:rPr>
              </a:br>
              <a:r>
                <a:rPr lang="en-US" sz="2000" b="1" i="1" dirty="0">
                  <a:solidFill>
                    <a:schemeClr val="accent2"/>
                  </a:solidFill>
                </a:rPr>
                <a:t> SCHOLARSHIP RECIPIENT</a:t>
              </a:r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2388BE08-F3C9-FFD6-4AD6-1BCCA5061E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07224" y="8880441"/>
              <a:ext cx="375124" cy="527201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5CDF7B3B-49CD-35CF-C03B-8CE1FB3708B6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4649188" y="-3"/>
            <a:ext cx="4407247" cy="5773338"/>
            <a:chOff x="10477007" y="683441"/>
            <a:chExt cx="4407247" cy="5773338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618B4E0-8D4D-1571-844D-41D2B1FADC6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477007" y="683441"/>
              <a:ext cx="327403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HOW TO USE THIS TEMPLATE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81854F9-FEBF-4AEB-48F0-6565C7F2C39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895961" y="1193800"/>
              <a:ext cx="3988293" cy="5262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 your slide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Replace the placeholder text and images with your own content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Make sure everything looks good and fits within the layout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Go to File → Save As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Choose where you want to save your file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hange the file type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In the “Save as type” dropdown, select:JPEG File Interchange Format (*.jpg)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lick Save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will ask: “</a:t>
              </a:r>
              <a:r>
                <a:rPr lang="en-US" sz="1600" b="0" i="1" dirty="0">
                  <a:solidFill>
                    <a:schemeClr val="tx2"/>
                  </a:solidFill>
                </a:rPr>
                <a:t>All Slides</a:t>
              </a:r>
              <a:r>
                <a:rPr lang="en-US" sz="1600" b="0" dirty="0">
                  <a:solidFill>
                    <a:schemeClr val="tx2"/>
                  </a:solidFill>
                </a:rPr>
                <a:t>”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r>
                <a:rPr lang="en-US" sz="1600" b="0" dirty="0">
                  <a:solidFill>
                    <a:schemeClr val="tx2"/>
                  </a:solidFill>
                </a:rPr>
                <a:t>or “</a:t>
              </a:r>
              <a:r>
                <a:rPr lang="en-US" sz="1600" b="0" i="1" dirty="0">
                  <a:solidFill>
                    <a:schemeClr val="tx2"/>
                  </a:solidFill>
                </a:rPr>
                <a:t>Just This One</a:t>
              </a:r>
              <a:r>
                <a:rPr lang="en-US" sz="1600" b="0" dirty="0">
                  <a:solidFill>
                    <a:schemeClr val="tx2"/>
                  </a:solidFill>
                </a:rPr>
                <a:t>?”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Choose </a:t>
              </a:r>
              <a:r>
                <a:rPr lang="en-US" sz="1600" b="0" i="1" dirty="0">
                  <a:solidFill>
                    <a:schemeClr val="tx2"/>
                  </a:solidFill>
                </a:rPr>
                <a:t>Just This One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0" dirty="0">
                  <a:solidFill>
                    <a:schemeClr val="tx2"/>
                  </a:solidFill>
                </a:rPr>
                <a:t>Done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Your JPG will be saved in the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r>
                <a:rPr lang="en-US" sz="1600" b="0" dirty="0">
                  <a:solidFill>
                    <a:schemeClr val="tx2"/>
                  </a:solidFill>
                </a:rPr>
                <a:t>selected folder, ready to share</a:t>
              </a: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5768BFE-4E40-5DCF-B982-D226FB8CCB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3D2DD55-3B82-9FD8-9FFC-8AC9C2ADCAE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9436" y="2706475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51B903B-29D9-7D13-B4CD-84D7709652A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5282" y="3447273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F84B030-5B5F-889B-9DD4-8613AA08733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51236" y="4417004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5218547-19E5-1903-16D6-845A7E94CAF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6592" y="5644344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231" y="1021556"/>
            <a:ext cx="8872538" cy="85537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231" y="2159253"/>
            <a:ext cx="8872538" cy="710619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31" y="9534526"/>
            <a:ext cx="2314575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May 27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231" y="339329"/>
            <a:ext cx="8872537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6766" y="9547774"/>
            <a:ext cx="438071" cy="5476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500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</p:sldLayoutIdLst>
  <p:hf sldNum="0" hdr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274320" indent="-27432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3998118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998118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46142F6-E759-1794-EE72-06A2DCD996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33A78D-1532-B902-8180-B6BAF7AE5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730594F-81BD-8614-A802-FB6E188C3C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F59F76151802488AB89B1C3A876B55" ma:contentTypeVersion="18" ma:contentTypeDescription="Create a new document." ma:contentTypeScope="" ma:versionID="e014c30230f34ea5e9239dd35318ff44">
  <xsd:schema xmlns:xsd="http://www.w3.org/2001/XMLSchema" xmlns:xs="http://www.w3.org/2001/XMLSchema" xmlns:p="http://schemas.microsoft.com/office/2006/metadata/properties" xmlns:ns3="1f7b7158-da0a-41d9-b5a4-951805a81842" xmlns:ns4="0be2b4af-3aa2-4f68-922f-84e310d8c846" targetNamespace="http://schemas.microsoft.com/office/2006/metadata/properties" ma:root="true" ma:fieldsID="edca4beb4b3ac6eb6991fdb1dd16b370" ns3:_="" ns4:_="">
    <xsd:import namespace="1f7b7158-da0a-41d9-b5a4-951805a81842"/>
    <xsd:import namespace="0be2b4af-3aa2-4f68-922f-84e310d8c84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b7158-da0a-41d9-b5a4-951805a818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e2b4af-3aa2-4f68-922f-84e310d8c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be2b4af-3aa2-4f68-922f-84e310d8c846" xsi:nil="true"/>
  </documentManagement>
</p:properties>
</file>

<file path=customXml/itemProps1.xml><?xml version="1.0" encoding="utf-8"?>
<ds:datastoreItem xmlns:ds="http://schemas.openxmlformats.org/officeDocument/2006/customXml" ds:itemID="{849294E7-ED17-4770-A8C2-73F72B584F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7b7158-da0a-41d9-b5a4-951805a81842"/>
    <ds:schemaRef ds:uri="0be2b4af-3aa2-4f68-922f-84e310d8c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8630</TotalTime>
  <Words>113</Words>
  <Application>Microsoft Office PowerPoint</Application>
  <PresentationFormat>Custom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71</cp:revision>
  <dcterms:created xsi:type="dcterms:W3CDTF">2026-05-20T21:46:16Z</dcterms:created>
  <dcterms:modified xsi:type="dcterms:W3CDTF">2026-05-27T16:4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F59F76151802488AB89B1C3A876B55</vt:lpwstr>
  </property>
  <property fmtid="{D5CDD505-2E9C-101B-9397-08002B2CF9AE}" pid="3" name="MediaServiceImageTags">
    <vt:lpwstr/>
  </property>
</Properties>
</file>